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56" r:id="rId5"/>
    <p:sldId id="4848" r:id="rId6"/>
    <p:sldId id="2147375614" r:id="rId7"/>
    <p:sldId id="2147375621" r:id="rId8"/>
    <p:sldId id="2147375616" r:id="rId9"/>
    <p:sldId id="2147375619" r:id="rId10"/>
    <p:sldId id="2147375620" r:id="rId11"/>
    <p:sldId id="2147375615" r:id="rId12"/>
    <p:sldId id="2147375617" r:id="rId13"/>
    <p:sldId id="1633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79" d="100"/>
          <a:sy n="79" d="100"/>
        </p:scale>
        <p:origin x="773" y="77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Hitesh, Hitesh SBOBNG-PTIY/AEC" userId="4b40d14c-6959-4a04-b09b-037994df9ab1" providerId="ADAL" clId="{9DAD72F2-A79A-4EF4-B97E-EE819A59AC46}"/>
    <pc:docChg chg="undo custSel delSld modSld">
      <pc:chgData name="Hitesh, Hitesh SBOBNG-PTIY/AEC" userId="4b40d14c-6959-4a04-b09b-037994df9ab1" providerId="ADAL" clId="{9DAD72F2-A79A-4EF4-B97E-EE819A59AC46}" dt="2024-09-05T08:06:46.113" v="12" actId="20577"/>
      <pc:docMkLst>
        <pc:docMk/>
      </pc:docMkLst>
      <pc:sldChg chg="modSp mod">
        <pc:chgData name="Hitesh, Hitesh SBOBNG-PTIY/AEC" userId="4b40d14c-6959-4a04-b09b-037994df9ab1" providerId="ADAL" clId="{9DAD72F2-A79A-4EF4-B97E-EE819A59AC46}" dt="2024-09-05T08:06:46.113" v="12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9DAD72F2-A79A-4EF4-B97E-EE819A59AC46}" dt="2024-09-05T03:46:28.686" v="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Hitesh, Hitesh SBOBNG-PTIY/AEC" userId="4b40d14c-6959-4a04-b09b-037994df9ab1" providerId="ADAL" clId="{9DAD72F2-A79A-4EF4-B97E-EE819A59AC46}" dt="2024-09-05T08:06:46.113" v="12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Hitesh, Hitesh SBOBNG-PTIY/AEC" userId="4b40d14c-6959-4a04-b09b-037994df9ab1" providerId="ADAL" clId="{9DAD72F2-A79A-4EF4-B97E-EE819A59AC46}" dt="2024-09-05T03:46:41.776" v="7" actId="20577"/>
        <pc:sldMkLst>
          <pc:docMk/>
          <pc:sldMk cId="245881457" sldId="2147375597"/>
        </pc:sldMkLst>
        <pc:spChg chg="mod">
          <ac:chgData name="Hitesh, Hitesh SBOBNG-PTIY/AEC" userId="4b40d14c-6959-4a04-b09b-037994df9ab1" providerId="ADAL" clId="{9DAD72F2-A79A-4EF4-B97E-EE819A59AC46}" dt="2024-09-05T03:46:36.834" v="4" actId="20577"/>
          <ac:spMkLst>
            <pc:docMk/>
            <pc:sldMk cId="245881457" sldId="2147375597"/>
            <ac:spMk id="2" creationId="{62AEE4DC-6FE4-5FAA-3BF0-9E51B9541760}"/>
          </ac:spMkLst>
        </pc:spChg>
        <pc:spChg chg="add del mod">
          <ac:chgData name="Hitesh, Hitesh SBOBNG-PTIY/AEC" userId="4b40d14c-6959-4a04-b09b-037994df9ab1" providerId="ADAL" clId="{9DAD72F2-A79A-4EF4-B97E-EE819A59AC46}" dt="2024-09-05T03:46:41.776" v="7" actId="20577"/>
          <ac:spMkLst>
            <pc:docMk/>
            <pc:sldMk cId="245881457" sldId="2147375597"/>
            <ac:spMk id="6" creationId="{AF1DEF1E-47CD-F7EA-05EA-B343CFE2C4BE}"/>
          </ac:spMkLst>
        </pc:spChg>
      </pc:sldChg>
      <pc:sldChg chg="modSp mod">
        <pc:chgData name="Hitesh, Hitesh SBOBNG-PTIY/AEC" userId="4b40d14c-6959-4a04-b09b-037994df9ab1" providerId="ADAL" clId="{9DAD72F2-A79A-4EF4-B97E-EE819A59AC46}" dt="2024-09-05T03:46:45.960" v="9" actId="20577"/>
        <pc:sldMkLst>
          <pc:docMk/>
          <pc:sldMk cId="2425867731" sldId="2147375605"/>
        </pc:sldMkLst>
        <pc:spChg chg="mod">
          <ac:chgData name="Hitesh, Hitesh SBOBNG-PTIY/AEC" userId="4b40d14c-6959-4a04-b09b-037994df9ab1" providerId="ADAL" clId="{9DAD72F2-A79A-4EF4-B97E-EE819A59AC46}" dt="2024-09-05T03:46:44.340" v="8" actId="20577"/>
          <ac:spMkLst>
            <pc:docMk/>
            <pc:sldMk cId="2425867731" sldId="2147375605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9DAD72F2-A79A-4EF4-B97E-EE819A59AC46}" dt="2024-09-05T03:46:45.960" v="9" actId="20577"/>
          <ac:spMkLst>
            <pc:docMk/>
            <pc:sldMk cId="2425867731" sldId="2147375605"/>
            <ac:spMk id="6" creationId="{AF1DEF1E-47CD-F7EA-05EA-B343CFE2C4BE}"/>
          </ac:spMkLst>
        </pc:spChg>
      </pc:sldChg>
      <pc:sldChg chg="del">
        <pc:chgData name="Hitesh, Hitesh SBOBNG-PTIY/AEC" userId="4b40d14c-6959-4a04-b09b-037994df9ab1" providerId="ADAL" clId="{9DAD72F2-A79A-4EF4-B97E-EE819A59AC46}" dt="2024-09-05T03:46:54.916" v="11" actId="47"/>
        <pc:sldMkLst>
          <pc:docMk/>
          <pc:sldMk cId="4138284177" sldId="2147375609"/>
        </pc:sldMkLst>
      </pc:sldChg>
      <pc:sldChg chg="del">
        <pc:chgData name="Hitesh, Hitesh SBOBNG-PTIY/AEC" userId="4b40d14c-6959-4a04-b09b-037994df9ab1" providerId="ADAL" clId="{9DAD72F2-A79A-4EF4-B97E-EE819A59AC46}" dt="2024-09-05T03:46:54.916" v="11" actId="47"/>
        <pc:sldMkLst>
          <pc:docMk/>
          <pc:sldMk cId="496066721" sldId="2147375611"/>
        </pc:sldMkLst>
      </pc:sldChg>
      <pc:sldChg chg="modSp mod">
        <pc:chgData name="Hitesh, Hitesh SBOBNG-PTIY/AEC" userId="4b40d14c-6959-4a04-b09b-037994df9ab1" providerId="ADAL" clId="{9DAD72F2-A79A-4EF4-B97E-EE819A59AC46}" dt="2024-09-05T03:46:49.264" v="10" actId="20577"/>
        <pc:sldMkLst>
          <pc:docMk/>
          <pc:sldMk cId="3277868491" sldId="2147375612"/>
        </pc:sldMkLst>
        <pc:spChg chg="mod">
          <ac:chgData name="Hitesh, Hitesh SBOBNG-PTIY/AEC" userId="4b40d14c-6959-4a04-b09b-037994df9ab1" providerId="ADAL" clId="{9DAD72F2-A79A-4EF4-B97E-EE819A59AC46}" dt="2024-09-05T03:46:49.264" v="10" actId="20577"/>
          <ac:spMkLst>
            <pc:docMk/>
            <pc:sldMk cId="3277868491" sldId="2147375612"/>
            <ac:spMk id="2" creationId="{62AEE4DC-6FE4-5FAA-3BF0-9E51B9541760}"/>
          </ac:spMkLst>
        </pc:sp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  <pc:docChgLst>
    <pc:chgData name="Hitesh, Hitesh SBOBNG-PTIY/AEC" userId="4b40d14c-6959-4a04-b09b-037994df9ab1" providerId="ADAL" clId="{72CFDB71-B474-4F23-B71C-DA6680F3F07F}"/>
    <pc:docChg chg="undo custSel addSld delSld modSld sldOrd">
      <pc:chgData name="Hitesh, Hitesh SBOBNG-PTIY/AEC" userId="4b40d14c-6959-4a04-b09b-037994df9ab1" providerId="ADAL" clId="{72CFDB71-B474-4F23-B71C-DA6680F3F07F}" dt="2024-09-04T08:10:55.191" v="6260" actId="20577"/>
      <pc:docMkLst>
        <pc:docMk/>
      </pc:docMkLst>
      <pc:sldChg chg="modSp mod">
        <pc:chgData name="Hitesh, Hitesh SBOBNG-PTIY/AEC" userId="4b40d14c-6959-4a04-b09b-037994df9ab1" providerId="ADAL" clId="{72CFDB71-B474-4F23-B71C-DA6680F3F07F}" dt="2024-09-04T03:29:43.038" v="385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72CFDB71-B474-4F23-B71C-DA6680F3F07F}" dt="2024-09-04T03:29:08.813" v="3856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Hitesh, Hitesh SBOBNG-PTIY/AEC" userId="4b40d14c-6959-4a04-b09b-037994df9ab1" providerId="ADAL" clId="{72CFDB71-B474-4F23-B71C-DA6680F3F07F}" dt="2024-09-04T03:29:43.038" v="3857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modSp mod">
        <pc:chgData name="Hitesh, Hitesh SBOBNG-PTIY/AEC" userId="4b40d14c-6959-4a04-b09b-037994df9ab1" providerId="ADAL" clId="{72CFDB71-B474-4F23-B71C-DA6680F3F07F}" dt="2024-09-04T08:10:55.191" v="6260" actId="20577"/>
        <pc:sldMkLst>
          <pc:docMk/>
          <pc:sldMk cId="245881457" sldId="2147375597"/>
        </pc:sldMkLst>
        <pc:spChg chg="mod">
          <ac:chgData name="Hitesh, Hitesh SBOBNG-PTIY/AEC" userId="4b40d14c-6959-4a04-b09b-037994df9ab1" providerId="ADAL" clId="{72CFDB71-B474-4F23-B71C-DA6680F3F07F}" dt="2024-09-04T08:10:55.191" v="6260" actId="20577"/>
          <ac:spMkLst>
            <pc:docMk/>
            <pc:sldMk cId="245881457" sldId="2147375597"/>
            <ac:spMk id="2" creationId="{62AEE4DC-6FE4-5FAA-3BF0-9E51B9541760}"/>
          </ac:spMkLst>
        </pc:spChg>
        <pc:spChg chg="add mod">
          <ac:chgData name="Hitesh, Hitesh SBOBNG-PTIY/AEC" userId="4b40d14c-6959-4a04-b09b-037994df9ab1" providerId="ADAL" clId="{72CFDB71-B474-4F23-B71C-DA6680F3F07F}" dt="2024-09-04T03:58:10.206" v="4083" actId="571"/>
          <ac:spMkLst>
            <pc:docMk/>
            <pc:sldMk cId="245881457" sldId="2147375597"/>
            <ac:spMk id="5" creationId="{27F3DA86-14D2-30D8-BDC4-6777770E1743}"/>
          </ac:spMkLst>
        </pc:spChg>
        <pc:spChg chg="add mod">
          <ac:chgData name="Hitesh, Hitesh SBOBNG-PTIY/AEC" userId="4b40d14c-6959-4a04-b09b-037994df9ab1" providerId="ADAL" clId="{72CFDB71-B474-4F23-B71C-DA6680F3F07F}" dt="2024-09-04T05:20:43.693" v="4463" actId="1076"/>
          <ac:spMkLst>
            <pc:docMk/>
            <pc:sldMk cId="245881457" sldId="2147375597"/>
            <ac:spMk id="5" creationId="{57816196-028E-2AD7-B7E9-D3726E9832A2}"/>
          </ac:spMkLst>
        </pc:spChg>
        <pc:spChg chg="add mod">
          <ac:chgData name="Hitesh, Hitesh SBOBNG-PTIY/AEC" userId="4b40d14c-6959-4a04-b09b-037994df9ab1" providerId="ADAL" clId="{72CFDB71-B474-4F23-B71C-DA6680F3F07F}" dt="2024-09-04T05:48:49.865" v="4813"/>
          <ac:spMkLst>
            <pc:docMk/>
            <pc:sldMk cId="245881457" sldId="2147375597"/>
            <ac:spMk id="6" creationId="{AF1DEF1E-47CD-F7EA-05EA-B343CFE2C4BE}"/>
          </ac:spMkLst>
        </pc:spChg>
      </pc:sldChg>
      <pc:sldChg chg="addSp modSp del mod">
        <pc:chgData name="Hitesh, Hitesh SBOBNG-PTIY/AEC" userId="4b40d14c-6959-4a04-b09b-037994df9ab1" providerId="ADAL" clId="{72CFDB71-B474-4F23-B71C-DA6680F3F07F}" dt="2024-09-04T05:23:57.625" v="4648" actId="47"/>
        <pc:sldMkLst>
          <pc:docMk/>
          <pc:sldMk cId="1181112711" sldId="2147375600"/>
        </pc:sldMkLst>
        <pc:spChg chg="mod">
          <ac:chgData name="Hitesh, Hitesh SBOBNG-PTIY/AEC" userId="4b40d14c-6959-4a04-b09b-037994df9ab1" providerId="ADAL" clId="{72CFDB71-B474-4F23-B71C-DA6680F3F07F}" dt="2024-09-03T08:55:10.199" v="2916" actId="5793"/>
          <ac:spMkLst>
            <pc:docMk/>
            <pc:sldMk cId="1181112711" sldId="2147375600"/>
            <ac:spMk id="11" creationId="{DE9F1BE0-7910-FA1B-DCE8-56EFD1E4FC09}"/>
          </ac:spMkLst>
        </pc:spChg>
        <pc:graphicFrameChg chg="add mod modGraphic">
          <ac:chgData name="Hitesh, Hitesh SBOBNG-PTIY/AEC" userId="4b40d14c-6959-4a04-b09b-037994df9ab1" providerId="ADAL" clId="{72CFDB71-B474-4F23-B71C-DA6680F3F07F}" dt="2024-09-04T05:22:20.224" v="4519" actId="21"/>
          <ac:graphicFrameMkLst>
            <pc:docMk/>
            <pc:sldMk cId="1181112711" sldId="2147375600"/>
            <ac:graphicFrameMk id="2" creationId="{3630BAC8-2EB3-8429-AECF-16CF485EBC02}"/>
          </ac:graphicFrameMkLst>
        </pc:graphicFrameChg>
      </pc:sldChg>
      <pc:sldChg chg="new del">
        <pc:chgData name="Hitesh, Hitesh SBOBNG-PTIY/AEC" userId="4b40d14c-6959-4a04-b09b-037994df9ab1" providerId="ADAL" clId="{72CFDB71-B474-4F23-B71C-DA6680F3F07F}" dt="2024-09-03T05:46:34.855" v="789" actId="47"/>
        <pc:sldMkLst>
          <pc:docMk/>
          <pc:sldMk cId="1996218311" sldId="2147375601"/>
        </pc:sldMkLst>
      </pc:sldChg>
      <pc:sldChg chg="addSp delSp 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247023300" sldId="2147375602"/>
        </pc:sldMkLst>
        <pc:spChg chg="mod">
          <ac:chgData name="Hitesh, Hitesh SBOBNG-PTIY/AEC" userId="4b40d14c-6959-4a04-b09b-037994df9ab1" providerId="ADAL" clId="{72CFDB71-B474-4F23-B71C-DA6680F3F07F}" dt="2024-09-03T05:46:41.235" v="793" actId="20577"/>
          <ac:spMkLst>
            <pc:docMk/>
            <pc:sldMk cId="247023300" sldId="2147375602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4T05:24:50.704" v="4654" actId="21"/>
          <ac:spMkLst>
            <pc:docMk/>
            <pc:sldMk cId="247023300" sldId="2147375602"/>
            <ac:spMk id="11" creationId="{DE9F1BE0-7910-FA1B-DCE8-56EFD1E4FC09}"/>
          </ac:spMkLst>
        </pc:spChg>
        <pc:graphicFrameChg chg="add del mod modGraphic">
          <ac:chgData name="Hitesh, Hitesh SBOBNG-PTIY/AEC" userId="4b40d14c-6959-4a04-b09b-037994df9ab1" providerId="ADAL" clId="{72CFDB71-B474-4F23-B71C-DA6680F3F07F}" dt="2024-09-04T05:21:41.098" v="4474" actId="478"/>
          <ac:graphicFrameMkLst>
            <pc:docMk/>
            <pc:sldMk cId="247023300" sldId="2147375602"/>
            <ac:graphicFrameMk id="2" creationId="{D4923250-4296-8C72-4D24-DAD333F64A19}"/>
          </ac:graphicFrameMkLst>
        </pc:graphicFrameChg>
      </pc:sldChg>
      <pc:sldChg chg="addSp 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27729771" sldId="2147375603"/>
        </pc:sldMkLst>
        <pc:spChg chg="mod">
          <ac:chgData name="Hitesh, Hitesh SBOBNG-PTIY/AEC" userId="4b40d14c-6959-4a04-b09b-037994df9ab1" providerId="ADAL" clId="{72CFDB71-B474-4F23-B71C-DA6680F3F07F}" dt="2024-09-03T08:53:34.012" v="2910" actId="20577"/>
          <ac:spMkLst>
            <pc:docMk/>
            <pc:sldMk cId="27729771" sldId="2147375603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3T09:06:20.775" v="3744" actId="5793"/>
          <ac:spMkLst>
            <pc:docMk/>
            <pc:sldMk cId="27729771" sldId="2147375603"/>
            <ac:spMk id="11" creationId="{DE9F1BE0-7910-FA1B-DCE8-56EFD1E4FC09}"/>
          </ac:spMkLst>
        </pc:spChg>
        <pc:graphicFrameChg chg="add mod modGraphic">
          <ac:chgData name="Hitesh, Hitesh SBOBNG-PTIY/AEC" userId="4b40d14c-6959-4a04-b09b-037994df9ab1" providerId="ADAL" clId="{72CFDB71-B474-4F23-B71C-DA6680F3F07F}" dt="2024-09-04T05:24:18.100" v="4651" actId="21"/>
          <ac:graphicFrameMkLst>
            <pc:docMk/>
            <pc:sldMk cId="27729771" sldId="2147375603"/>
            <ac:graphicFrameMk id="2" creationId="{A7B7A8D2-0BAB-B586-3FD4-4FEA9D72091F}"/>
          </ac:graphicFrameMkLst>
        </pc:graphicFrameChg>
      </pc:sldChg>
      <pc:sldChg chg="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3481054148" sldId="2147375604"/>
        </pc:sldMkLst>
        <pc:spChg chg="mod">
          <ac:chgData name="Hitesh, Hitesh SBOBNG-PTIY/AEC" userId="4b40d14c-6959-4a04-b09b-037994df9ab1" providerId="ADAL" clId="{72CFDB71-B474-4F23-B71C-DA6680F3F07F}" dt="2024-09-03T08:54:55.073" v="2914" actId="20577"/>
          <ac:spMkLst>
            <pc:docMk/>
            <pc:sldMk cId="3481054148" sldId="2147375604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3T05:47:22.947" v="796" actId="20577"/>
          <ac:spMkLst>
            <pc:docMk/>
            <pc:sldMk cId="3481054148" sldId="2147375604"/>
            <ac:spMk id="11" creationId="{DE9F1BE0-7910-FA1B-DCE8-56EFD1E4FC09}"/>
          </ac:spMkLst>
        </pc:spChg>
      </pc:sldChg>
      <pc:sldChg chg="addSp delSp modSp add mod ord">
        <pc:chgData name="Hitesh, Hitesh SBOBNG-PTIY/AEC" userId="4b40d14c-6959-4a04-b09b-037994df9ab1" providerId="ADAL" clId="{72CFDB71-B474-4F23-B71C-DA6680F3F07F}" dt="2024-09-04T06:13:41.250" v="6207" actId="404"/>
        <pc:sldMkLst>
          <pc:docMk/>
          <pc:sldMk cId="2425867731" sldId="2147375605"/>
        </pc:sldMkLst>
        <pc:spChg chg="mod">
          <ac:chgData name="Hitesh, Hitesh SBOBNG-PTIY/AEC" userId="4b40d14c-6959-4a04-b09b-037994df9ab1" providerId="ADAL" clId="{72CFDB71-B474-4F23-B71C-DA6680F3F07F}" dt="2024-09-04T05:52:56.496" v="4882" actId="20577"/>
          <ac:spMkLst>
            <pc:docMk/>
            <pc:sldMk cId="2425867731" sldId="2147375605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6:13:41.250" v="6207" actId="404"/>
          <ac:spMkLst>
            <pc:docMk/>
            <pc:sldMk cId="2425867731" sldId="2147375605"/>
            <ac:spMk id="6" creationId="{AF1DEF1E-47CD-F7EA-05EA-B343CFE2C4BE}"/>
          </ac:spMkLst>
        </pc:spChg>
        <pc:picChg chg="add del">
          <ac:chgData name="Hitesh, Hitesh SBOBNG-PTIY/AEC" userId="4b40d14c-6959-4a04-b09b-037994df9ab1" providerId="ADAL" clId="{72CFDB71-B474-4F23-B71C-DA6680F3F07F}" dt="2024-09-04T05:53:00.055" v="4884" actId="22"/>
          <ac:picMkLst>
            <pc:docMk/>
            <pc:sldMk cId="2425867731" sldId="2147375605"/>
            <ac:picMk id="8" creationId="{FE336247-C0C8-865E-0867-335E7EB2CE0B}"/>
          </ac:picMkLst>
        </pc:picChg>
      </pc:sldChg>
      <pc:sldChg chg="modSp add del mod">
        <pc:chgData name="Hitesh, Hitesh SBOBNG-PTIY/AEC" userId="4b40d14c-6959-4a04-b09b-037994df9ab1" providerId="ADAL" clId="{72CFDB71-B474-4F23-B71C-DA6680F3F07F}" dt="2024-09-04T05:47:55.663" v="4810" actId="47"/>
        <pc:sldMkLst>
          <pc:docMk/>
          <pc:sldMk cId="3131497173" sldId="2147375606"/>
        </pc:sldMkLst>
        <pc:spChg chg="mod">
          <ac:chgData name="Hitesh, Hitesh SBOBNG-PTIY/AEC" userId="4b40d14c-6959-4a04-b09b-037994df9ab1" providerId="ADAL" clId="{72CFDB71-B474-4F23-B71C-DA6680F3F07F}" dt="2024-09-04T05:27:29.119" v="4676" actId="21"/>
          <ac:spMkLst>
            <pc:docMk/>
            <pc:sldMk cId="3131497173" sldId="2147375606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5:27:38.605" v="4681" actId="404"/>
          <ac:spMkLst>
            <pc:docMk/>
            <pc:sldMk cId="3131497173" sldId="2147375606"/>
            <ac:spMk id="6" creationId="{AF1DEF1E-47CD-F7EA-05EA-B343CFE2C4BE}"/>
          </ac:spMkLst>
        </pc:spChg>
      </pc:sldChg>
      <pc:sldChg chg="modSp add del mod">
        <pc:chgData name="Hitesh, Hitesh SBOBNG-PTIY/AEC" userId="4b40d14c-6959-4a04-b09b-037994df9ab1" providerId="ADAL" clId="{72CFDB71-B474-4F23-B71C-DA6680F3F07F}" dt="2024-09-04T05:50:14.142" v="4839" actId="47"/>
        <pc:sldMkLst>
          <pc:docMk/>
          <pc:sldMk cId="3101336136" sldId="2147375607"/>
        </pc:sldMkLst>
        <pc:spChg chg="mod">
          <ac:chgData name="Hitesh, Hitesh SBOBNG-PTIY/AEC" userId="4b40d14c-6959-4a04-b09b-037994df9ab1" providerId="ADAL" clId="{72CFDB71-B474-4F23-B71C-DA6680F3F07F}" dt="2024-09-04T05:49:29.418" v="4822" actId="21"/>
          <ac:spMkLst>
            <pc:docMk/>
            <pc:sldMk cId="3101336136" sldId="2147375607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5:24:57.284" v="4656" actId="20577"/>
          <ac:spMkLst>
            <pc:docMk/>
            <pc:sldMk cId="3101336136" sldId="2147375607"/>
            <ac:spMk id="6" creationId="{AF1DEF1E-47CD-F7EA-05EA-B343CFE2C4BE}"/>
          </ac:spMkLst>
        </pc:spChg>
      </pc:sldChg>
      <pc:sldChg chg="addSp delSp modSp new del mod">
        <pc:chgData name="Hitesh, Hitesh SBOBNG-PTIY/AEC" userId="4b40d14c-6959-4a04-b09b-037994df9ab1" providerId="ADAL" clId="{72CFDB71-B474-4F23-B71C-DA6680F3F07F}" dt="2024-09-04T05:42:48.815" v="4741" actId="47"/>
        <pc:sldMkLst>
          <pc:docMk/>
          <pc:sldMk cId="1238524059" sldId="2147375608"/>
        </pc:sldMkLst>
        <pc:spChg chg="add del mod">
          <ac:chgData name="Hitesh, Hitesh SBOBNG-PTIY/AEC" userId="4b40d14c-6959-4a04-b09b-037994df9ab1" providerId="ADAL" clId="{72CFDB71-B474-4F23-B71C-DA6680F3F07F}" dt="2024-09-04T05:42:41.568" v="4739" actId="22"/>
          <ac:spMkLst>
            <pc:docMk/>
            <pc:sldMk cId="1238524059" sldId="2147375608"/>
            <ac:spMk id="6" creationId="{C8BF2ADA-3CA6-4608-3073-79C32A690470}"/>
          </ac:spMkLst>
        </pc:spChg>
      </pc:sldChg>
      <pc:sldChg chg="addSp modSp add del mod ord">
        <pc:chgData name="Hitesh, Hitesh SBOBNG-PTIY/AEC" userId="4b40d14c-6959-4a04-b09b-037994df9ab1" providerId="ADAL" clId="{72CFDB71-B474-4F23-B71C-DA6680F3F07F}" dt="2024-09-04T06:12:44.118" v="6196" actId="2696"/>
        <pc:sldMkLst>
          <pc:docMk/>
          <pc:sldMk cId="479228673" sldId="2147375609"/>
        </pc:sldMkLst>
        <pc:spChg chg="mod">
          <ac:chgData name="Hitesh, Hitesh SBOBNG-PTIY/AEC" userId="4b40d14c-6959-4a04-b09b-037994df9ab1" providerId="ADAL" clId="{72CFDB71-B474-4F23-B71C-DA6680F3F07F}" dt="2024-09-04T05:45:55.015" v="4799" actId="20577"/>
          <ac:spMkLst>
            <pc:docMk/>
            <pc:sldMk cId="479228673" sldId="2147375609"/>
            <ac:spMk id="2" creationId="{62AEE4DC-6FE4-5FAA-3BF0-9E51B9541760}"/>
          </ac:spMkLst>
        </pc:spChg>
        <pc:spChg chg="add mod">
          <ac:chgData name="Hitesh, Hitesh SBOBNG-PTIY/AEC" userId="4b40d14c-6959-4a04-b09b-037994df9ab1" providerId="ADAL" clId="{72CFDB71-B474-4F23-B71C-DA6680F3F07F}" dt="2024-09-04T05:45:37.846" v="4798" actId="6549"/>
          <ac:spMkLst>
            <pc:docMk/>
            <pc:sldMk cId="479228673" sldId="2147375609"/>
            <ac:spMk id="5" creationId="{6E57615F-0C18-889C-4CFF-06745E2D36B0}"/>
          </ac:spMkLst>
        </pc:spChg>
        <pc:spChg chg="mod">
          <ac:chgData name="Hitesh, Hitesh SBOBNG-PTIY/AEC" userId="4b40d14c-6959-4a04-b09b-037994df9ab1" providerId="ADAL" clId="{72CFDB71-B474-4F23-B71C-DA6680F3F07F}" dt="2024-09-04T05:56:14.169" v="4907" actId="20577"/>
          <ac:spMkLst>
            <pc:docMk/>
            <pc:sldMk cId="479228673" sldId="2147375609"/>
            <ac:spMk id="6" creationId="{AF1DEF1E-47CD-F7EA-05EA-B343CFE2C4BE}"/>
          </ac:spMkLst>
        </pc:spChg>
      </pc:sldChg>
      <pc:sldChg chg="add">
        <pc:chgData name="Hitesh, Hitesh SBOBNG-PTIY/AEC" userId="4b40d14c-6959-4a04-b09b-037994df9ab1" providerId="ADAL" clId="{72CFDB71-B474-4F23-B71C-DA6680F3F07F}" dt="2024-09-04T06:12:52.743" v="6197"/>
        <pc:sldMkLst>
          <pc:docMk/>
          <pc:sldMk cId="4138284177" sldId="2147375609"/>
        </pc:sldMkLst>
      </pc:sldChg>
      <pc:sldChg chg="add del">
        <pc:chgData name="Hitesh, Hitesh SBOBNG-PTIY/AEC" userId="4b40d14c-6959-4a04-b09b-037994df9ab1" providerId="ADAL" clId="{72CFDB71-B474-4F23-B71C-DA6680F3F07F}" dt="2024-09-04T05:43:04.739" v="4743"/>
        <pc:sldMkLst>
          <pc:docMk/>
          <pc:sldMk cId="442697003" sldId="2147375610"/>
        </pc:sldMkLst>
      </pc:sldChg>
      <pc:sldChg chg="new del">
        <pc:chgData name="Hitesh, Hitesh SBOBNG-PTIY/AEC" userId="4b40d14c-6959-4a04-b09b-037994df9ab1" providerId="ADAL" clId="{72CFDB71-B474-4F23-B71C-DA6680F3F07F}" dt="2024-09-04T05:59:51.343" v="4908" actId="47"/>
        <pc:sldMkLst>
          <pc:docMk/>
          <pc:sldMk cId="2920969972" sldId="2147375610"/>
        </pc:sldMkLst>
      </pc:sldChg>
      <pc:sldChg chg="add">
        <pc:chgData name="Hitesh, Hitesh SBOBNG-PTIY/AEC" userId="4b40d14c-6959-4a04-b09b-037994df9ab1" providerId="ADAL" clId="{72CFDB71-B474-4F23-B71C-DA6680F3F07F}" dt="2024-09-04T06:12:52.743" v="6197"/>
        <pc:sldMkLst>
          <pc:docMk/>
          <pc:sldMk cId="496066721" sldId="2147375611"/>
        </pc:sldMkLst>
      </pc:sldChg>
      <pc:sldChg chg="addSp delSp modSp add del mod ord">
        <pc:chgData name="Hitesh, Hitesh SBOBNG-PTIY/AEC" userId="4b40d14c-6959-4a04-b09b-037994df9ab1" providerId="ADAL" clId="{72CFDB71-B474-4F23-B71C-DA6680F3F07F}" dt="2024-09-04T06:12:44.118" v="6196" actId="2696"/>
        <pc:sldMkLst>
          <pc:docMk/>
          <pc:sldMk cId="3832620116" sldId="2147375611"/>
        </pc:sldMkLst>
        <pc:spChg chg="del mod">
          <ac:chgData name="Hitesh, Hitesh SBOBNG-PTIY/AEC" userId="4b40d14c-6959-4a04-b09b-037994df9ab1" providerId="ADAL" clId="{72CFDB71-B474-4F23-B71C-DA6680F3F07F}" dt="2024-09-04T05:53:40.429" v="4896" actId="478"/>
          <ac:spMkLst>
            <pc:docMk/>
            <pc:sldMk cId="3832620116" sldId="2147375611"/>
            <ac:spMk id="2" creationId="{62AEE4DC-6FE4-5FAA-3BF0-9E51B9541760}"/>
          </ac:spMkLst>
        </pc:spChg>
        <pc:spChg chg="del mod">
          <ac:chgData name="Hitesh, Hitesh SBOBNG-PTIY/AEC" userId="4b40d14c-6959-4a04-b09b-037994df9ab1" providerId="ADAL" clId="{72CFDB71-B474-4F23-B71C-DA6680F3F07F}" dt="2024-09-04T05:53:40.429" v="4896" actId="478"/>
          <ac:spMkLst>
            <pc:docMk/>
            <pc:sldMk cId="3832620116" sldId="2147375611"/>
            <ac:spMk id="6" creationId="{AF1DEF1E-47CD-F7EA-05EA-B343CFE2C4BE}"/>
          </ac:spMkLst>
        </pc:spChg>
        <pc:picChg chg="add mod">
          <ac:chgData name="Hitesh, Hitesh SBOBNG-PTIY/AEC" userId="4b40d14c-6959-4a04-b09b-037994df9ab1" providerId="ADAL" clId="{72CFDB71-B474-4F23-B71C-DA6680F3F07F}" dt="2024-09-04T05:54:00.027" v="4899" actId="1076"/>
          <ac:picMkLst>
            <pc:docMk/>
            <pc:sldMk cId="3832620116" sldId="2147375611"/>
            <ac:picMk id="8" creationId="{6837EAA1-EAF8-E085-180E-A7A2DC49B947}"/>
          </ac:picMkLst>
        </pc:picChg>
      </pc:sldChg>
      <pc:sldChg chg="add del">
        <pc:chgData name="Hitesh, Hitesh SBOBNG-PTIY/AEC" userId="4b40d14c-6959-4a04-b09b-037994df9ab1" providerId="ADAL" clId="{72CFDB71-B474-4F23-B71C-DA6680F3F07F}" dt="2024-09-04T05:53:14.325" v="4890"/>
        <pc:sldMkLst>
          <pc:docMk/>
          <pc:sldMk cId="506914407" sldId="2147375612"/>
        </pc:sldMkLst>
      </pc:sldChg>
      <pc:sldChg chg="modSp add mod ord">
        <pc:chgData name="Hitesh, Hitesh SBOBNG-PTIY/AEC" userId="4b40d14c-6959-4a04-b09b-037994df9ab1" providerId="ADAL" clId="{72CFDB71-B474-4F23-B71C-DA6680F3F07F}" dt="2024-09-04T06:12:12.212" v="6193" actId="20577"/>
        <pc:sldMkLst>
          <pc:docMk/>
          <pc:sldMk cId="3277868491" sldId="2147375612"/>
        </pc:sldMkLst>
        <pc:spChg chg="mod">
          <ac:chgData name="Hitesh, Hitesh SBOBNG-PTIY/AEC" userId="4b40d14c-6959-4a04-b09b-037994df9ab1" providerId="ADAL" clId="{72CFDB71-B474-4F23-B71C-DA6680F3F07F}" dt="2024-09-04T06:11:25.583" v="6192" actId="14"/>
          <ac:spMkLst>
            <pc:docMk/>
            <pc:sldMk cId="3277868491" sldId="2147375612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6:12:12.212" v="6193" actId="20577"/>
          <ac:spMkLst>
            <pc:docMk/>
            <pc:sldMk cId="3277868491" sldId="2147375612"/>
            <ac:spMk id="6" creationId="{AF1DEF1E-47CD-F7EA-05EA-B343CFE2C4B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9.png"/><Relationship Id="rId4" Type="http://schemas.openxmlformats.org/officeDocument/2006/relationships/image" Target="../media/image23.emf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33.png"/><Relationship Id="rId4" Type="http://schemas.openxmlformats.org/officeDocument/2006/relationships/image" Target="../media/image23.emf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38.png"/><Relationship Id="rId4" Type="http://schemas.openxmlformats.org/officeDocument/2006/relationships/image" Target="../media/image23.emf"/><Relationship Id="rId9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7 (06-Sep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-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2285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bjective:</a:t>
            </a:r>
            <a:r>
              <a:rPr lang="en-US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 concepts of SDLC, Agile, Software Testing, DBMS, and CI/CD pipeline using </a:t>
            </a:r>
            <a:r>
              <a:rPr lang="en-US" kern="100" dirty="0" err="1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angeHRM</a:t>
            </a:r>
            <a:r>
              <a:rPr lang="en-US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website.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</a:rPr>
              <a:t>Creating Virtual Machine in Azure Portal</a:t>
            </a:r>
          </a:p>
        </p:txBody>
      </p:sp>
      <p:pic>
        <p:nvPicPr>
          <p:cNvPr id="20" name="Picture 19" descr="A screenshot of a computer&#10;&#10;Description automatically generated">
            <a:extLst>
              <a:ext uri="{FF2B5EF4-FFF2-40B4-BE49-F238E27FC236}">
                <a16:creationId xmlns:a16="http://schemas.microsoft.com/office/drawing/2014/main" id="{CA5C1B49-E458-A343-5514-6DC70C78163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146" y="3206467"/>
            <a:ext cx="4317648" cy="242951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9BFED8-DE14-A4EE-3568-102B496C03E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936" y="3206466"/>
            <a:ext cx="4319905" cy="24295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208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2285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DLC, Agile, and Software Testing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zure Setup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eated an Azure Virtual Machine (VM) to perform all tasks.</a:t>
            </a: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gged into Azure DevOps and navigated to the project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print Management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eated a new Sprint in Azure DevOps.</a:t>
            </a: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t Sprint goals and objectives aligned with the overall testing strategy for the </a:t>
            </a:r>
            <a:r>
              <a:rPr lang="en-US" sz="14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angeHRM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website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ser Stories and Backlog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veloped 5 User Stories covering different aspects of SDLC related to the website functionalities.</a:t>
            </a: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ded these stories to the Sprint Backlog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t Case Creation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eated 25 test cases for the User Stories in the Sprint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ask and Sub-Task Definition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ed tasks and sub-tasks for each User Story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ual Test Execution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ecuted all test cases manually focusing on functional testing.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ect Reporting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enerated Defect Reports for each failed or blocked test case.</a:t>
            </a:r>
          </a:p>
        </p:txBody>
      </p:sp>
    </p:spTree>
    <p:extLst>
      <p:ext uri="{BB962C8B-B14F-4D97-AF65-F5344CB8AC3E}">
        <p14:creationId xmlns:p14="http://schemas.microsoft.com/office/powerpoint/2010/main" val="3497822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106DDA-B5CE-7555-AD56-67775F458A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0131" y="4064856"/>
            <a:ext cx="3991913" cy="2245048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86EF845-851B-0B8D-9046-14D20A83D2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9876" y="4064857"/>
            <a:ext cx="3991913" cy="2245047"/>
          </a:xfrm>
          <a:prstGeom prst="rect">
            <a:avLst/>
          </a:prstGeom>
        </p:spPr>
      </p:pic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3A317BC0-B070-2AFD-C31A-C008420984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0131" y="1670619"/>
            <a:ext cx="3991913" cy="224523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49BBE06-941B-DFD5-687E-24900AA0ECB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29875" y="1670619"/>
            <a:ext cx="3991913" cy="2245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32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26F3977-0431-08EA-3596-9446A534B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4581" y="1380003"/>
            <a:ext cx="4319905" cy="242951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1738DF-A19C-A1BE-7901-1EB65FE616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5107" y="1380003"/>
            <a:ext cx="4319905" cy="2429510"/>
          </a:xfrm>
          <a:prstGeom prst="rect">
            <a:avLst/>
          </a:prstGeom>
        </p:spPr>
      </p:pic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51846F23-8D3D-D379-E881-647492F494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4581" y="3940978"/>
            <a:ext cx="4319905" cy="2429510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80A323CB-1889-404D-3667-7E5E6D1DE04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25107" y="3940978"/>
            <a:ext cx="4319905" cy="242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4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2ACA85-48FB-922C-2385-8DC169993F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3084" y="1297594"/>
            <a:ext cx="4701209" cy="498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20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1507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I/CD Pipeline Implementation using GitHub Actions:</a:t>
            </a:r>
          </a:p>
          <a:p>
            <a:pPr marL="457200"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pository Setup: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261872" lvl="2" indent="-347472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eated a new repository on GitHub and cloned the Java project codebase from the VM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804672" lvl="1" indent="-347472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itHub Actions Workflow: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eated a new Workflow on GitHub Actions for the Java/Maven code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nitored the build process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804672" lvl="1" indent="-347472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de Modification and Build Monitoring: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dified code (e.g., Java class or pom.xml) to trigger Workflow and recheck the build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nitored the build results after committing changes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804672" lvl="1" indent="-347472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cumentation and Reporting: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ploaded screenshots of successful builds and committed them to the repository.</a:t>
            </a:r>
            <a:endParaRPr lang="en-US" sz="1400" dirty="0">
              <a:effectLst/>
              <a:latin typeface="Aptos" panose="020B0004020202020204" pitchFamily="34" charset="0"/>
            </a:endParaRPr>
          </a:p>
          <a:p>
            <a:pPr marL="1197864" lvl="1" indent="-283464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kern="1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dded the created test cases report and defect report to the repository.</a:t>
            </a:r>
            <a:endParaRPr lang="en-US" sz="1400" dirty="0">
              <a:effectLst/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79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E4E9C7-0C53-434F-92BE-8D853E4B64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108" y="1300986"/>
            <a:ext cx="4425789" cy="24890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3582EC-DEF7-2DDF-B26A-EF3BB29DD3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108" y="3958302"/>
            <a:ext cx="4784349" cy="24209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3A19E0A-1AD9-68BA-8C77-93816025E2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0500" y="1300986"/>
            <a:ext cx="4869674" cy="242951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D4AB076-790B-0F78-3C96-5A30CA2603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40500" y="3958302"/>
            <a:ext cx="4869674" cy="2449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580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75</TotalTime>
  <Words>362</Words>
  <Application>Microsoft Office PowerPoint</Application>
  <PresentationFormat>Widescreen</PresentationFormat>
  <Paragraphs>5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ptos</vt:lpstr>
      <vt:lpstr>Arial</vt:lpstr>
      <vt:lpstr>Calibri</vt:lpstr>
      <vt:lpstr>Courier New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2 | My takeaways</vt:lpstr>
      <vt:lpstr>Learning 2 | My takeaways</vt:lpstr>
      <vt:lpstr>Learning 2 | My takeaways</vt:lpstr>
      <vt:lpstr>Learning 3 | My takeaways</vt:lpstr>
      <vt:lpstr>Learning 3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26</cp:revision>
  <dcterms:created xsi:type="dcterms:W3CDTF">2022-01-18T12:35:56Z</dcterms:created>
  <dcterms:modified xsi:type="dcterms:W3CDTF">2024-09-06T15:1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